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121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57120909962381"/>
          <c:y val="4.562041422866165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1.5329229606029185E-2"/>
                  <c:y val="1.1609547691943112E-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3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563302355414583"/>
                      <c:h val="5.204676325810346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314E-2"/>
                  <c:y val="-5.8860406798551127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0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8.1578297480236706E-2"/>
                  <c:y val="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*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3.891330970620264E-3"/>
                  <c:y val="-4.1256849633138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87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312437219562607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24</c:v>
                </c:pt>
                <c:pt idx="1">
                  <c:v>0</c:v>
                </c:pt>
                <c:pt idx="2">
                  <c:v>148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56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6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24.10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925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8</cdr:x>
      <cdr:y>0.24965</cdr:y>
    </cdr:from>
    <cdr:to>
      <cdr:x>0.62582</cdr:x>
      <cdr:y>0.31397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5823" y="1075196"/>
          <a:ext cx="596591" cy="27701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24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10/24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10/24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10/24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24</a:t>
            </a:r>
            <a:r>
              <a:rPr lang="ru-RU" sz="2400" dirty="0" smtClean="0">
                <a:sym typeface="Manrope Bold"/>
              </a:rPr>
              <a:t>.10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3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1043788"/>
              </p:ext>
            </p:extLst>
          </p:nvPr>
        </p:nvGraphicFramePr>
        <p:xfrm>
          <a:off x="3935762" y="1809189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904108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5833722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717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9360051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4829881" y="5289299"/>
            <a:ext cx="33269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- смонтированы</a:t>
            </a:r>
            <a:endParaRPr lang="ru-RU" sz="9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8</TotalTime>
  <Words>107</Words>
  <Application>Microsoft Office PowerPoint</Application>
  <PresentationFormat>Широкоэкранный</PresentationFormat>
  <Paragraphs>39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20</cp:revision>
  <cp:lastPrinted>2025-05-22T08:59:55Z</cp:lastPrinted>
  <dcterms:created xsi:type="dcterms:W3CDTF">2021-07-15T07:55:03Z</dcterms:created>
  <dcterms:modified xsi:type="dcterms:W3CDTF">2025-10-24T13:16:31Z</dcterms:modified>
</cp:coreProperties>
</file>